
<file path=[Content_Types].xml><?xml version="1.0" encoding="utf-8"?>
<Types xmlns="http://schemas.openxmlformats.org/package/2006/content-types">
  <Default Extension="bin" ContentType="application/vnd.openxmlformats-officedocument.oleObject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media/image1.bin" ContentType="image/x-emf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0" r:id="rId4"/>
  </p:sldMasterIdLst>
  <p:notesMasterIdLst>
    <p:notesMasterId r:id="rId6"/>
  </p:notesMasterIdLst>
  <p:handoutMasterIdLst>
    <p:handoutMasterId r:id="rId7"/>
  </p:handoutMasterIdLst>
  <p:sldIdLst>
    <p:sldId id="693" r:id="rId5"/>
  </p:sldIdLst>
  <p:sldSz cx="12192000" cy="6858000"/>
  <p:notesSz cx="7315200" cy="9601200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28FF"/>
    <a:srgbClr val="FFD5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4905BA-685C-485B-86B6-157A08AF9634}" v="1" dt="2023-04-18T07:08:18.1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785" autoAdjust="0"/>
    <p:restoredTop sz="94434" autoAdjust="0"/>
  </p:normalViewPr>
  <p:slideViewPr>
    <p:cSldViewPr snapToGrid="0" showGuides="1">
      <p:cViewPr>
        <p:scale>
          <a:sx n="114" d="100"/>
          <a:sy n="114" d="100"/>
        </p:scale>
        <p:origin x="56" y="-392"/>
      </p:cViewPr>
      <p:guideLst/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9" d="100"/>
        <a:sy n="39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yrekar, Nikita" userId="81b7bcf0-b252-48e8-8b8e-b08ae8900a92" providerId="ADAL" clId="{E4D5CF6B-2C5C-43F0-B4AB-E88E5F109317}"/>
    <pc:docChg chg="custSel modSld">
      <pc:chgData name="Poyrekar, Nikita" userId="81b7bcf0-b252-48e8-8b8e-b08ae8900a92" providerId="ADAL" clId="{E4D5CF6B-2C5C-43F0-B4AB-E88E5F109317}" dt="2022-07-24T06:05:15.620" v="152" actId="20577"/>
      <pc:docMkLst>
        <pc:docMk/>
      </pc:docMkLst>
      <pc:sldChg chg="modSp mod">
        <pc:chgData name="Poyrekar, Nikita" userId="81b7bcf0-b252-48e8-8b8e-b08ae8900a92" providerId="ADAL" clId="{E4D5CF6B-2C5C-43F0-B4AB-E88E5F109317}" dt="2022-07-24T06:05:15.620" v="152" actId="20577"/>
        <pc:sldMkLst>
          <pc:docMk/>
          <pc:sldMk cId="2678710148" sldId="693"/>
        </pc:sldMkLst>
        <pc:spChg chg="mod">
          <ac:chgData name="Poyrekar, Nikita" userId="81b7bcf0-b252-48e8-8b8e-b08ae8900a92" providerId="ADAL" clId="{E4D5CF6B-2C5C-43F0-B4AB-E88E5F109317}" dt="2022-07-24T06:05:15.620" v="152" actId="20577"/>
          <ac:spMkLst>
            <pc:docMk/>
            <pc:sldMk cId="2678710148" sldId="693"/>
            <ac:spMk id="2" creationId="{00000000-0000-0000-0000-000000000000}"/>
          </ac:spMkLst>
        </pc:spChg>
        <pc:spChg chg="mod">
          <ac:chgData name="Poyrekar, Nikita" userId="81b7bcf0-b252-48e8-8b8e-b08ae8900a92" providerId="ADAL" clId="{E4D5CF6B-2C5C-43F0-B4AB-E88E5F109317}" dt="2022-07-24T06:03:12.754" v="116" actId="14100"/>
          <ac:spMkLst>
            <pc:docMk/>
            <pc:sldMk cId="2678710148" sldId="693"/>
            <ac:spMk id="15" creationId="{00000000-0000-0000-0000-000000000000}"/>
          </ac:spMkLst>
        </pc:spChg>
        <pc:spChg chg="mod">
          <ac:chgData name="Poyrekar, Nikita" userId="81b7bcf0-b252-48e8-8b8e-b08ae8900a92" providerId="ADAL" clId="{E4D5CF6B-2C5C-43F0-B4AB-E88E5F109317}" dt="2022-07-24T06:02:31.856" v="73" actId="14100"/>
          <ac:spMkLst>
            <pc:docMk/>
            <pc:sldMk cId="2678710148" sldId="693"/>
            <ac:spMk id="16" creationId="{00000000-0000-0000-0000-000000000000}"/>
          </ac:spMkLst>
        </pc:spChg>
        <pc:spChg chg="mod">
          <ac:chgData name="Poyrekar, Nikita" userId="81b7bcf0-b252-48e8-8b8e-b08ae8900a92" providerId="ADAL" clId="{E4D5CF6B-2C5C-43F0-B4AB-E88E5F109317}" dt="2022-07-24T06:02:36.831" v="83" actId="1036"/>
          <ac:spMkLst>
            <pc:docMk/>
            <pc:sldMk cId="2678710148" sldId="693"/>
            <ac:spMk id="17" creationId="{00000000-0000-0000-0000-000000000000}"/>
          </ac:spMkLst>
        </pc:spChg>
        <pc:spChg chg="mod">
          <ac:chgData name="Poyrekar, Nikita" userId="81b7bcf0-b252-48e8-8b8e-b08ae8900a92" providerId="ADAL" clId="{E4D5CF6B-2C5C-43F0-B4AB-E88E5F109317}" dt="2022-07-24T06:02:58.170" v="103" actId="14100"/>
          <ac:spMkLst>
            <pc:docMk/>
            <pc:sldMk cId="2678710148" sldId="693"/>
            <ac:spMk id="18" creationId="{00000000-0000-0000-0000-000000000000}"/>
          </ac:spMkLst>
        </pc:spChg>
        <pc:spChg chg="mod">
          <ac:chgData name="Poyrekar, Nikita" userId="81b7bcf0-b252-48e8-8b8e-b08ae8900a92" providerId="ADAL" clId="{E4D5CF6B-2C5C-43F0-B4AB-E88E5F109317}" dt="2022-07-24T06:02:16.727" v="59" actId="1035"/>
          <ac:spMkLst>
            <pc:docMk/>
            <pc:sldMk cId="2678710148" sldId="693"/>
            <ac:spMk id="21" creationId="{00000000-0000-0000-0000-000000000000}"/>
          </ac:spMkLst>
        </pc:spChg>
      </pc:sldChg>
    </pc:docChg>
  </pc:docChgLst>
  <pc:docChgLst>
    <pc:chgData name="Poyrekar, Nikita" userId="81b7bcf0-b252-48e8-8b8e-b08ae8900a92" providerId="ADAL" clId="{5FDCE233-393A-4EAF-87EB-9433227E047F}"/>
    <pc:docChg chg="modSld">
      <pc:chgData name="Poyrekar, Nikita" userId="81b7bcf0-b252-48e8-8b8e-b08ae8900a92" providerId="ADAL" clId="{5FDCE233-393A-4EAF-87EB-9433227E047F}" dt="2022-02-23T15:10:26.043" v="316" actId="20577"/>
      <pc:docMkLst>
        <pc:docMk/>
      </pc:docMkLst>
      <pc:sldChg chg="modSp mod">
        <pc:chgData name="Poyrekar, Nikita" userId="81b7bcf0-b252-48e8-8b8e-b08ae8900a92" providerId="ADAL" clId="{5FDCE233-393A-4EAF-87EB-9433227E047F}" dt="2022-02-23T15:10:26.043" v="316" actId="20577"/>
        <pc:sldMkLst>
          <pc:docMk/>
          <pc:sldMk cId="2678710148" sldId="693"/>
        </pc:sldMkLst>
        <pc:spChg chg="mod">
          <ac:chgData name="Poyrekar, Nikita" userId="81b7bcf0-b252-48e8-8b8e-b08ae8900a92" providerId="ADAL" clId="{5FDCE233-393A-4EAF-87EB-9433227E047F}" dt="2022-01-24T06:01:10.090" v="18" actId="20577"/>
          <ac:spMkLst>
            <pc:docMk/>
            <pc:sldMk cId="2678710148" sldId="693"/>
            <ac:spMk id="2" creationId="{00000000-0000-0000-0000-000000000000}"/>
          </ac:spMkLst>
        </pc:spChg>
        <pc:spChg chg="mod">
          <ac:chgData name="Poyrekar, Nikita" userId="81b7bcf0-b252-48e8-8b8e-b08ae8900a92" providerId="ADAL" clId="{5FDCE233-393A-4EAF-87EB-9433227E047F}" dt="2022-02-23T15:10:26.043" v="316" actId="20577"/>
          <ac:spMkLst>
            <pc:docMk/>
            <pc:sldMk cId="2678710148" sldId="693"/>
            <ac:spMk id="16" creationId="{00000000-0000-0000-0000-000000000000}"/>
          </ac:spMkLst>
        </pc:spChg>
        <pc:spChg chg="mod">
          <ac:chgData name="Poyrekar, Nikita" userId="81b7bcf0-b252-48e8-8b8e-b08ae8900a92" providerId="ADAL" clId="{5FDCE233-393A-4EAF-87EB-9433227E047F}" dt="2022-01-24T06:05:53.315" v="287" actId="1036"/>
          <ac:spMkLst>
            <pc:docMk/>
            <pc:sldMk cId="2678710148" sldId="693"/>
            <ac:spMk id="17" creationId="{00000000-0000-0000-0000-000000000000}"/>
          </ac:spMkLst>
        </pc:spChg>
        <pc:spChg chg="mod">
          <ac:chgData name="Poyrekar, Nikita" userId="81b7bcf0-b252-48e8-8b8e-b08ae8900a92" providerId="ADAL" clId="{5FDCE233-393A-4EAF-87EB-9433227E047F}" dt="2022-01-24T06:05:50.571" v="282" actId="1036"/>
          <ac:spMkLst>
            <pc:docMk/>
            <pc:sldMk cId="2678710148" sldId="693"/>
            <ac:spMk id="18" creationId="{00000000-0000-0000-0000-000000000000}"/>
          </ac:spMkLst>
        </pc:spChg>
        <pc:spChg chg="mod">
          <ac:chgData name="Poyrekar, Nikita" userId="81b7bcf0-b252-48e8-8b8e-b08ae8900a92" providerId="ADAL" clId="{5FDCE233-393A-4EAF-87EB-9433227E047F}" dt="2022-01-24T06:06:04.074" v="301" actId="1036"/>
          <ac:spMkLst>
            <pc:docMk/>
            <pc:sldMk cId="2678710148" sldId="693"/>
            <ac:spMk id="21" creationId="{00000000-0000-0000-0000-000000000000}"/>
          </ac:spMkLst>
        </pc:spChg>
      </pc:sldChg>
    </pc:docChg>
  </pc:docChgLst>
  <pc:docChgLst>
    <pc:chgData name="Poyrekar, Nikita" userId="81b7bcf0-b252-48e8-8b8e-b08ae8900a92" providerId="ADAL" clId="{88332AA9-C8C3-4F42-BF74-2A5B661B2A53}"/>
    <pc:docChg chg="undo custSel modSld modMainMaster">
      <pc:chgData name="Poyrekar, Nikita" userId="81b7bcf0-b252-48e8-8b8e-b08ae8900a92" providerId="ADAL" clId="{88332AA9-C8C3-4F42-BF74-2A5B661B2A53}" dt="2022-10-25T11:00:07.123" v="1051" actId="20577"/>
      <pc:docMkLst>
        <pc:docMk/>
      </pc:docMkLst>
      <pc:sldChg chg="addSp delSp modSp mod modTransition">
        <pc:chgData name="Poyrekar, Nikita" userId="81b7bcf0-b252-48e8-8b8e-b08ae8900a92" providerId="ADAL" clId="{88332AA9-C8C3-4F42-BF74-2A5B661B2A53}" dt="2022-10-25T11:00:07.123" v="1051" actId="20577"/>
        <pc:sldMkLst>
          <pc:docMk/>
          <pc:sldMk cId="2678710148" sldId="693"/>
        </pc:sldMkLst>
        <pc:spChg chg="del mod">
          <ac:chgData name="Poyrekar, Nikita" userId="81b7bcf0-b252-48e8-8b8e-b08ae8900a92" providerId="ADAL" clId="{88332AA9-C8C3-4F42-BF74-2A5B661B2A53}" dt="2022-10-25T05:37:55.161" v="473" actId="478"/>
          <ac:spMkLst>
            <pc:docMk/>
            <pc:sldMk cId="2678710148" sldId="693"/>
            <ac:spMk id="2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2:49.280" v="949" actId="122"/>
          <ac:spMkLst>
            <pc:docMk/>
            <pc:sldMk cId="2678710148" sldId="693"/>
            <ac:spMk id="12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2:20.547" v="929" actId="1035"/>
          <ac:spMkLst>
            <pc:docMk/>
            <pc:sldMk cId="2678710148" sldId="693"/>
            <ac:spMk id="14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3:39.905" v="959" actId="113"/>
          <ac:spMkLst>
            <pc:docMk/>
            <pc:sldMk cId="2678710148" sldId="693"/>
            <ac:spMk id="15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8:41.891" v="1020" actId="1035"/>
          <ac:spMkLst>
            <pc:docMk/>
            <pc:sldMk cId="2678710148" sldId="693"/>
            <ac:spMk id="16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8:32.546" v="1004" actId="1036"/>
          <ac:spMkLst>
            <pc:docMk/>
            <pc:sldMk cId="2678710148" sldId="693"/>
            <ac:spMk id="17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8:28.288" v="993" actId="1036"/>
          <ac:spMkLst>
            <pc:docMk/>
            <pc:sldMk cId="2678710148" sldId="693"/>
            <ac:spMk id="18" creationId="{00000000-0000-0000-0000-000000000000}"/>
          </ac:spMkLst>
        </pc:spChg>
        <pc:spChg chg="add mod">
          <ac:chgData name="Poyrekar, Nikita" userId="81b7bcf0-b252-48e8-8b8e-b08ae8900a92" providerId="ADAL" clId="{88332AA9-C8C3-4F42-BF74-2A5B661B2A53}" dt="2022-10-25T10:51:37.185" v="847" actId="1036"/>
          <ac:spMkLst>
            <pc:docMk/>
            <pc:sldMk cId="2678710148" sldId="693"/>
            <ac:spMk id="20" creationId="{DE521BAC-1841-4C04-8B3B-7E19F9B4CDB7}"/>
          </ac:spMkLst>
        </pc:spChg>
        <pc:spChg chg="mod">
          <ac:chgData name="Poyrekar, Nikita" userId="81b7bcf0-b252-48e8-8b8e-b08ae8900a92" providerId="ADAL" clId="{88332AA9-C8C3-4F42-BF74-2A5B661B2A53}" dt="2022-10-25T10:58:53.989" v="1031" actId="1036"/>
          <ac:spMkLst>
            <pc:docMk/>
            <pc:sldMk cId="2678710148" sldId="693"/>
            <ac:spMk id="21" creationId="{00000000-0000-0000-0000-000000000000}"/>
          </ac:spMkLst>
        </pc:spChg>
        <pc:spChg chg="mod">
          <ac:chgData name="Poyrekar, Nikita" userId="81b7bcf0-b252-48e8-8b8e-b08ae8900a92" providerId="ADAL" clId="{88332AA9-C8C3-4F42-BF74-2A5B661B2A53}" dt="2022-10-25T10:51:56.710" v="885" actId="1035"/>
          <ac:spMkLst>
            <pc:docMk/>
            <pc:sldMk cId="2678710148" sldId="693"/>
            <ac:spMk id="22" creationId="{00000000-0000-0000-0000-000000000000}"/>
          </ac:spMkLst>
        </pc:spChg>
        <pc:spChg chg="add mod">
          <ac:chgData name="Poyrekar, Nikita" userId="81b7bcf0-b252-48e8-8b8e-b08ae8900a92" providerId="ADAL" clId="{88332AA9-C8C3-4F42-BF74-2A5B661B2A53}" dt="2022-10-25T10:53:06.005" v="951" actId="122"/>
          <ac:spMkLst>
            <pc:docMk/>
            <pc:sldMk cId="2678710148" sldId="693"/>
            <ac:spMk id="23" creationId="{08096783-34E3-4E02-BA98-B7B2C5196BA0}"/>
          </ac:spMkLst>
        </pc:spChg>
        <pc:spChg chg="add mod">
          <ac:chgData name="Poyrekar, Nikita" userId="81b7bcf0-b252-48e8-8b8e-b08ae8900a92" providerId="ADAL" clId="{88332AA9-C8C3-4F42-BF74-2A5B661B2A53}" dt="2022-10-25T10:53:20.750" v="954" actId="120"/>
          <ac:spMkLst>
            <pc:docMk/>
            <pc:sldMk cId="2678710148" sldId="693"/>
            <ac:spMk id="24" creationId="{F39E461E-E2E9-42E7-8E0E-712DB5335C27}"/>
          </ac:spMkLst>
        </pc:spChg>
        <pc:spChg chg="mod">
          <ac:chgData name="Poyrekar, Nikita" userId="81b7bcf0-b252-48e8-8b8e-b08ae8900a92" providerId="ADAL" clId="{88332AA9-C8C3-4F42-BF74-2A5B661B2A53}" dt="2022-10-25T11:00:07.123" v="1051" actId="20577"/>
          <ac:spMkLst>
            <pc:docMk/>
            <pc:sldMk cId="2678710148" sldId="693"/>
            <ac:spMk id="57" creationId="{00000000-0000-0000-0000-000000000000}"/>
          </ac:spMkLst>
        </pc:spChg>
        <pc:picChg chg="add mod">
          <ac:chgData name="Poyrekar, Nikita" userId="81b7bcf0-b252-48e8-8b8e-b08ae8900a92" providerId="ADAL" clId="{88332AA9-C8C3-4F42-BF74-2A5B661B2A53}" dt="2022-10-25T10:51:41.148" v="863" actId="1036"/>
          <ac:picMkLst>
            <pc:docMk/>
            <pc:sldMk cId="2678710148" sldId="693"/>
            <ac:picMk id="5" creationId="{DE76CACD-52CD-4454-AAE1-B4A1C7597BD3}"/>
          </ac:picMkLst>
        </pc:picChg>
        <pc:picChg chg="mod">
          <ac:chgData name="Poyrekar, Nikita" userId="81b7bcf0-b252-48e8-8b8e-b08ae8900a92" providerId="ADAL" clId="{88332AA9-C8C3-4F42-BF74-2A5B661B2A53}" dt="2022-10-25T10:51:17.468" v="813" actId="1076"/>
          <ac:picMkLst>
            <pc:docMk/>
            <pc:sldMk cId="2678710148" sldId="693"/>
            <ac:picMk id="7" creationId="{35B07E6F-2E6A-4E1C-B6B2-652F56E5B9B6}"/>
          </ac:picMkLst>
        </pc:picChg>
        <pc:picChg chg="add del mod">
          <ac:chgData name="Poyrekar, Nikita" userId="81b7bcf0-b252-48e8-8b8e-b08ae8900a92" providerId="ADAL" clId="{88332AA9-C8C3-4F42-BF74-2A5B661B2A53}" dt="2022-10-25T05:39:14.645" v="488"/>
          <ac:picMkLst>
            <pc:docMk/>
            <pc:sldMk cId="2678710148" sldId="693"/>
            <ac:picMk id="8" creationId="{3CE263C8-F917-4499-9471-229DD4DC1EBB}"/>
          </ac:picMkLst>
        </pc:picChg>
      </pc:sldChg>
      <pc:sldMasterChg chg="addSp">
        <pc:chgData name="Poyrekar, Nikita" userId="81b7bcf0-b252-48e8-8b8e-b08ae8900a92" providerId="ADAL" clId="{88332AA9-C8C3-4F42-BF74-2A5B661B2A53}" dt="2022-10-19T14:29:32.651" v="266"/>
        <pc:sldMasterMkLst>
          <pc:docMk/>
          <pc:sldMasterMk cId="3787865956" sldId="2147483756"/>
        </pc:sldMasterMkLst>
        <pc:spChg chg="add">
          <ac:chgData name="Poyrekar, Nikita" userId="81b7bcf0-b252-48e8-8b8e-b08ae8900a92" providerId="ADAL" clId="{88332AA9-C8C3-4F42-BF74-2A5B661B2A53}" dt="2022-10-19T14:29:32.651" v="266"/>
          <ac:spMkLst>
            <pc:docMk/>
            <pc:sldMasterMk cId="3787865956" sldId="2147483756"/>
            <ac:spMk id="8" creationId="{42C5EF5C-F36A-4CDD-823E-2F62E4D95009}"/>
          </ac:spMkLst>
        </pc:spChg>
        <pc:spChg chg="add">
          <ac:chgData name="Poyrekar, Nikita" userId="81b7bcf0-b252-48e8-8b8e-b08ae8900a92" providerId="ADAL" clId="{88332AA9-C8C3-4F42-BF74-2A5B661B2A53}" dt="2022-10-19T14:29:32.651" v="266"/>
          <ac:spMkLst>
            <pc:docMk/>
            <pc:sldMasterMk cId="3787865956" sldId="2147483756"/>
            <ac:spMk id="9" creationId="{10DAD578-2648-4D54-88F8-AC73127E42B6}"/>
          </ac:spMkLst>
        </pc:spChg>
      </pc:sldMasterChg>
    </pc:docChg>
  </pc:docChgLst>
  <pc:docChgLst>
    <pc:chgData name="Poyrekar, Nikita" userId="81b7bcf0-b252-48e8-8b8e-b08ae8900a92" providerId="ADAL" clId="{8231B79E-2ECA-4A76-ACE1-9A10D7721F91}"/>
    <pc:docChg chg="undo custSel modSld">
      <pc:chgData name="Poyrekar, Nikita" userId="81b7bcf0-b252-48e8-8b8e-b08ae8900a92" providerId="ADAL" clId="{8231B79E-2ECA-4A76-ACE1-9A10D7721F91}" dt="2021-10-20T04:11:57.973" v="943" actId="20577"/>
      <pc:docMkLst>
        <pc:docMk/>
      </pc:docMkLst>
      <pc:sldChg chg="addSp delSp modSp mod">
        <pc:chgData name="Poyrekar, Nikita" userId="81b7bcf0-b252-48e8-8b8e-b08ae8900a92" providerId="ADAL" clId="{8231B79E-2ECA-4A76-ACE1-9A10D7721F91}" dt="2021-10-20T04:11:57.973" v="943" actId="20577"/>
        <pc:sldMkLst>
          <pc:docMk/>
          <pc:sldMk cId="2678710148" sldId="693"/>
        </pc:sldMkLst>
        <pc:spChg chg="mod">
          <ac:chgData name="Poyrekar, Nikita" userId="81b7bcf0-b252-48e8-8b8e-b08ae8900a92" providerId="ADAL" clId="{8231B79E-2ECA-4A76-ACE1-9A10D7721F91}" dt="2021-10-06T04:17:06.083" v="911" actId="1035"/>
          <ac:spMkLst>
            <pc:docMk/>
            <pc:sldMk cId="2678710148" sldId="693"/>
            <ac:spMk id="2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05:07.260" v="447" actId="2711"/>
          <ac:spMkLst>
            <pc:docMk/>
            <pc:sldMk cId="2678710148" sldId="693"/>
            <ac:spMk id="4" creationId="{00000000-0000-0000-0000-000000000000}"/>
          </ac:spMkLst>
        </pc:spChg>
        <pc:spChg chg="add del mod">
          <ac:chgData name="Poyrekar, Nikita" userId="81b7bcf0-b252-48e8-8b8e-b08ae8900a92" providerId="ADAL" clId="{8231B79E-2ECA-4A76-ACE1-9A10D7721F91}" dt="2021-10-06T03:52:51.509" v="11"/>
          <ac:spMkLst>
            <pc:docMk/>
            <pc:sldMk cId="2678710148" sldId="693"/>
            <ac:spMk id="5" creationId="{26449525-C738-4584-9AE0-5B18985DD57E}"/>
          </ac:spMkLst>
        </pc:spChg>
        <pc:spChg chg="mod">
          <ac:chgData name="Poyrekar, Nikita" userId="81b7bcf0-b252-48e8-8b8e-b08ae8900a92" providerId="ADAL" clId="{8231B79E-2ECA-4A76-ACE1-9A10D7721F91}" dt="2021-10-06T04:20:04.883" v="926" actId="1036"/>
          <ac:spMkLst>
            <pc:docMk/>
            <pc:sldMk cId="2678710148" sldId="693"/>
            <ac:spMk id="12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05:07.260" v="447" actId="2711"/>
          <ac:spMkLst>
            <pc:docMk/>
            <pc:sldMk cId="2678710148" sldId="693"/>
            <ac:spMk id="14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05:07.260" v="447" actId="2711"/>
          <ac:spMkLst>
            <pc:docMk/>
            <pc:sldMk cId="2678710148" sldId="693"/>
            <ac:spMk id="15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20T04:11:25.076" v="936" actId="20577"/>
          <ac:spMkLst>
            <pc:docMk/>
            <pc:sldMk cId="2678710148" sldId="693"/>
            <ac:spMk id="16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20:46.611" v="935" actId="1036"/>
          <ac:spMkLst>
            <pc:docMk/>
            <pc:sldMk cId="2678710148" sldId="693"/>
            <ac:spMk id="17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20T04:11:57.973" v="943" actId="20577"/>
          <ac:spMkLst>
            <pc:docMk/>
            <pc:sldMk cId="2678710148" sldId="693"/>
            <ac:spMk id="18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05:07.260" v="447" actId="2711"/>
          <ac:spMkLst>
            <pc:docMk/>
            <pc:sldMk cId="2678710148" sldId="693"/>
            <ac:spMk id="19" creationId="{842D9BA8-19C9-43FE-A664-761CAEC3AB0C}"/>
          </ac:spMkLst>
        </pc:spChg>
        <pc:spChg chg="mod">
          <ac:chgData name="Poyrekar, Nikita" userId="81b7bcf0-b252-48e8-8b8e-b08ae8900a92" providerId="ADAL" clId="{8231B79E-2ECA-4A76-ACE1-9A10D7721F91}" dt="2021-10-06T04:18:38.133" v="923" actId="1036"/>
          <ac:spMkLst>
            <pc:docMk/>
            <pc:sldMk cId="2678710148" sldId="693"/>
            <ac:spMk id="21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15:37.154" v="865" actId="14100"/>
          <ac:spMkLst>
            <pc:docMk/>
            <pc:sldMk cId="2678710148" sldId="693"/>
            <ac:spMk id="22" creationId="{00000000-0000-0000-0000-000000000000}"/>
          </ac:spMkLst>
        </pc:spChg>
        <pc:spChg chg="mod">
          <ac:chgData name="Poyrekar, Nikita" userId="81b7bcf0-b252-48e8-8b8e-b08ae8900a92" providerId="ADAL" clId="{8231B79E-2ECA-4A76-ACE1-9A10D7721F91}" dt="2021-10-06T04:05:07.260" v="447" actId="2711"/>
          <ac:spMkLst>
            <pc:docMk/>
            <pc:sldMk cId="2678710148" sldId="693"/>
            <ac:spMk id="57" creationId="{00000000-0000-0000-0000-000000000000}"/>
          </ac:spMkLst>
        </pc:spChg>
        <pc:picChg chg="add mod">
          <ac:chgData name="Poyrekar, Nikita" userId="81b7bcf0-b252-48e8-8b8e-b08ae8900a92" providerId="ADAL" clId="{8231B79E-2ECA-4A76-ACE1-9A10D7721F91}" dt="2021-10-06T04:00:46.557" v="367" actId="1036"/>
          <ac:picMkLst>
            <pc:docMk/>
            <pc:sldMk cId="2678710148" sldId="693"/>
            <ac:picMk id="7" creationId="{35B07E6F-2E6A-4E1C-B6B2-652F56E5B9B6}"/>
          </ac:picMkLst>
        </pc:picChg>
        <pc:picChg chg="del">
          <ac:chgData name="Poyrekar, Nikita" userId="81b7bcf0-b252-48e8-8b8e-b08ae8900a92" providerId="ADAL" clId="{8231B79E-2ECA-4A76-ACE1-9A10D7721F91}" dt="2021-10-06T03:52:51.039" v="10" actId="478"/>
          <ac:picMkLst>
            <pc:docMk/>
            <pc:sldMk cId="2678710148" sldId="693"/>
            <ac:picMk id="13" creationId="{14F18093-75EF-4237-ADDF-3FEDCD71AA44}"/>
          </ac:picMkLst>
        </pc:picChg>
      </pc:sldChg>
    </pc:docChg>
  </pc:docChgLst>
  <pc:docChgLst>
    <pc:chgData name="Poyrekar, Nikita" userId="81b7bcf0-b252-48e8-8b8e-b08ae8900a92" providerId="ADAL" clId="{CA4905BA-685C-485B-86B6-157A08AF9634}"/>
    <pc:docChg chg="undo custSel modSld">
      <pc:chgData name="Poyrekar, Nikita" userId="81b7bcf0-b252-48e8-8b8e-b08ae8900a92" providerId="ADAL" clId="{CA4905BA-685C-485B-86B6-157A08AF9634}" dt="2023-04-18T07:10:44.884" v="75" actId="1076"/>
      <pc:docMkLst>
        <pc:docMk/>
      </pc:docMkLst>
      <pc:sldChg chg="addSp delSp modSp mod">
        <pc:chgData name="Poyrekar, Nikita" userId="81b7bcf0-b252-48e8-8b8e-b08ae8900a92" providerId="ADAL" clId="{CA4905BA-685C-485B-86B6-157A08AF9634}" dt="2023-04-18T07:10:44.884" v="75" actId="1076"/>
        <pc:sldMkLst>
          <pc:docMk/>
          <pc:sldMk cId="2678710148" sldId="693"/>
        </pc:sldMkLst>
        <pc:spChg chg="add del mod">
          <ac:chgData name="Poyrekar, Nikita" userId="81b7bcf0-b252-48e8-8b8e-b08ae8900a92" providerId="ADAL" clId="{CA4905BA-685C-485B-86B6-157A08AF9634}" dt="2023-04-18T07:08:18.108" v="2"/>
          <ac:spMkLst>
            <pc:docMk/>
            <pc:sldMk cId="2678710148" sldId="693"/>
            <ac:spMk id="3" creationId="{54378A4D-FE72-4B28-9208-0B0CF3A210EA}"/>
          </ac:spMkLst>
        </pc:spChg>
        <pc:spChg chg="mod">
          <ac:chgData name="Poyrekar, Nikita" userId="81b7bcf0-b252-48e8-8b8e-b08ae8900a92" providerId="ADAL" clId="{CA4905BA-685C-485B-86B6-157A08AF9634}" dt="2023-04-18T07:10:44.884" v="75" actId="1076"/>
          <ac:spMkLst>
            <pc:docMk/>
            <pc:sldMk cId="2678710148" sldId="693"/>
            <ac:spMk id="12" creationId="{00000000-0000-0000-0000-000000000000}"/>
          </ac:spMkLst>
        </pc:spChg>
        <pc:spChg chg="mod">
          <ac:chgData name="Poyrekar, Nikita" userId="81b7bcf0-b252-48e8-8b8e-b08ae8900a92" providerId="ADAL" clId="{CA4905BA-685C-485B-86B6-157A08AF9634}" dt="2023-04-18T07:06:14.865" v="0" actId="20577"/>
          <ac:spMkLst>
            <pc:docMk/>
            <pc:sldMk cId="2678710148" sldId="693"/>
            <ac:spMk id="16" creationId="{00000000-0000-0000-0000-000000000000}"/>
          </ac:spMkLst>
        </pc:spChg>
        <pc:picChg chg="add mod modCrop">
          <ac:chgData name="Poyrekar, Nikita" userId="81b7bcf0-b252-48e8-8b8e-b08ae8900a92" providerId="ADAL" clId="{CA4905BA-685C-485B-86B6-157A08AF9634}" dt="2023-04-18T07:09:19.373" v="74" actId="14100"/>
          <ac:picMkLst>
            <pc:docMk/>
            <pc:sldMk cId="2678710148" sldId="693"/>
            <ac:picMk id="6" creationId="{67B3EB1F-2821-412E-88DA-0648A3498C0B}"/>
          </ac:picMkLst>
        </pc:picChg>
        <pc:picChg chg="del">
          <ac:chgData name="Poyrekar, Nikita" userId="81b7bcf0-b252-48e8-8b8e-b08ae8900a92" providerId="ADAL" clId="{CA4905BA-685C-485B-86B6-157A08AF9634}" dt="2023-04-18T07:08:16.619" v="1" actId="478"/>
          <ac:picMkLst>
            <pc:docMk/>
            <pc:sldMk cId="2678710148" sldId="693"/>
            <ac:picMk id="7" creationId="{35B07E6F-2E6A-4E1C-B6B2-652F56E5B9B6}"/>
          </ac:picMkLst>
        </pc:picChg>
      </pc:sldChg>
    </pc:docChg>
  </pc:docChgLst>
  <pc:docChgLst>
    <pc:chgData name="Poyrekar, Nikita" userId="81b7bcf0-b252-48e8-8b8e-b08ae8900a92" providerId="ADAL" clId="{9AB38727-7C06-4753-A8D4-BA671F8A58F9}"/>
    <pc:docChg chg="custSel modSld">
      <pc:chgData name="Poyrekar, Nikita" userId="81b7bcf0-b252-48e8-8b8e-b08ae8900a92" providerId="ADAL" clId="{9AB38727-7C06-4753-A8D4-BA671F8A58F9}" dt="2023-03-20T08:32:40.158" v="39" actId="20577"/>
      <pc:docMkLst>
        <pc:docMk/>
      </pc:docMkLst>
      <pc:sldChg chg="modSp mod">
        <pc:chgData name="Poyrekar, Nikita" userId="81b7bcf0-b252-48e8-8b8e-b08ae8900a92" providerId="ADAL" clId="{9AB38727-7C06-4753-A8D4-BA671F8A58F9}" dt="2023-03-20T08:32:40.158" v="39" actId="20577"/>
        <pc:sldMkLst>
          <pc:docMk/>
          <pc:sldMk cId="2678710148" sldId="693"/>
        </pc:sldMkLst>
        <pc:spChg chg="mod">
          <ac:chgData name="Poyrekar, Nikita" userId="81b7bcf0-b252-48e8-8b8e-b08ae8900a92" providerId="ADAL" clId="{9AB38727-7C06-4753-A8D4-BA671F8A58F9}" dt="2023-03-20T08:32:40.158" v="39" actId="20577"/>
          <ac:spMkLst>
            <pc:docMk/>
            <pc:sldMk cId="2678710148" sldId="693"/>
            <ac:spMk id="16" creationId="{00000000-0000-0000-0000-000000000000}"/>
          </ac:spMkLst>
        </pc:spChg>
      </pc:sldChg>
    </pc:docChg>
  </pc:docChgLst>
  <pc:docChgLst>
    <pc:chgData name="Poyrekar, Nikita" userId="81b7bcf0-b252-48e8-8b8e-b08ae8900a92" providerId="ADAL" clId="{0C040029-E90A-47AA-A7B0-C075E074534A}"/>
    <pc:docChg chg="modSld">
      <pc:chgData name="Poyrekar, Nikita" userId="81b7bcf0-b252-48e8-8b8e-b08ae8900a92" providerId="ADAL" clId="{0C040029-E90A-47AA-A7B0-C075E074534A}" dt="2022-05-09T05:38:25.383" v="244" actId="20577"/>
      <pc:docMkLst>
        <pc:docMk/>
      </pc:docMkLst>
      <pc:sldChg chg="modSp mod">
        <pc:chgData name="Poyrekar, Nikita" userId="81b7bcf0-b252-48e8-8b8e-b08ae8900a92" providerId="ADAL" clId="{0C040029-E90A-47AA-A7B0-C075E074534A}" dt="2022-05-09T05:38:25.383" v="244" actId="20577"/>
        <pc:sldMkLst>
          <pc:docMk/>
          <pc:sldMk cId="2678710148" sldId="693"/>
        </pc:sldMkLst>
        <pc:spChg chg="mod">
          <ac:chgData name="Poyrekar, Nikita" userId="81b7bcf0-b252-48e8-8b8e-b08ae8900a92" providerId="ADAL" clId="{0C040029-E90A-47AA-A7B0-C075E074534A}" dt="2022-05-09T05:38:25.383" v="244" actId="20577"/>
          <ac:spMkLst>
            <pc:docMk/>
            <pc:sldMk cId="2678710148" sldId="693"/>
            <ac:spMk id="2" creationId="{00000000-0000-0000-0000-000000000000}"/>
          </ac:spMkLst>
        </pc:spChg>
        <pc:spChg chg="mod">
          <ac:chgData name="Poyrekar, Nikita" userId="81b7bcf0-b252-48e8-8b8e-b08ae8900a92" providerId="ADAL" clId="{0C040029-E90A-47AA-A7B0-C075E074534A}" dt="2022-05-09T05:38:07.291" v="241" actId="20577"/>
          <ac:spMkLst>
            <pc:docMk/>
            <pc:sldMk cId="2678710148" sldId="693"/>
            <ac:spMk id="15" creationId="{00000000-0000-0000-0000-000000000000}"/>
          </ac:spMkLst>
        </pc:spChg>
        <pc:spChg chg="mod">
          <ac:chgData name="Poyrekar, Nikita" userId="81b7bcf0-b252-48e8-8b8e-b08ae8900a92" providerId="ADAL" clId="{0C040029-E90A-47AA-A7B0-C075E074534A}" dt="2022-05-09T05:33:46.229" v="192" actId="20577"/>
          <ac:spMkLst>
            <pc:docMk/>
            <pc:sldMk cId="2678710148" sldId="693"/>
            <ac:spMk id="16" creationId="{00000000-0000-0000-0000-000000000000}"/>
          </ac:spMkLst>
        </pc:spChg>
        <pc:spChg chg="mod">
          <ac:chgData name="Poyrekar, Nikita" userId="81b7bcf0-b252-48e8-8b8e-b08ae8900a92" providerId="ADAL" clId="{0C040029-E90A-47AA-A7B0-C075E074534A}" dt="2022-05-09T05:35:37.684" v="236" actId="20577"/>
          <ac:spMkLst>
            <pc:docMk/>
            <pc:sldMk cId="2678710148" sldId="693"/>
            <ac:spMk id="18" creationId="{00000000-0000-0000-0000-000000000000}"/>
          </ac:spMkLst>
        </pc:spChg>
      </pc:sldChg>
    </pc:docChg>
  </pc:docChgLst>
  <pc:docChgLst>
    <pc:chgData name="Poyrekar, Nikita" userId="81b7bcf0-b252-48e8-8b8e-b08ae8900a92" providerId="ADAL" clId="{811F5F60-36F3-49FD-AFD1-C2D4181F54F0}"/>
    <pc:docChg chg="undo redo custSel modSld">
      <pc:chgData name="Poyrekar, Nikita" userId="81b7bcf0-b252-48e8-8b8e-b08ae8900a92" providerId="ADAL" clId="{811F5F60-36F3-49FD-AFD1-C2D4181F54F0}" dt="2022-12-18T07:37:01.160" v="2155" actId="207"/>
      <pc:docMkLst>
        <pc:docMk/>
      </pc:docMkLst>
      <pc:sldChg chg="addSp delSp modSp mod modTransition">
        <pc:chgData name="Poyrekar, Nikita" userId="81b7bcf0-b252-48e8-8b8e-b08ae8900a92" providerId="ADAL" clId="{811F5F60-36F3-49FD-AFD1-C2D4181F54F0}" dt="2022-12-18T07:37:01.160" v="2155" actId="207"/>
        <pc:sldMkLst>
          <pc:docMk/>
          <pc:sldMk cId="2678710148" sldId="693"/>
        </pc:sldMkLst>
        <pc:spChg chg="add del">
          <ac:chgData name="Poyrekar, Nikita" userId="81b7bcf0-b252-48e8-8b8e-b08ae8900a92" providerId="ADAL" clId="{811F5F60-36F3-49FD-AFD1-C2D4181F54F0}" dt="2022-12-18T07:33:50.582" v="2064" actId="478"/>
          <ac:spMkLst>
            <pc:docMk/>
            <pc:sldMk cId="2678710148" sldId="693"/>
            <ac:spMk id="2" creationId="{19BDAF84-9D28-47A6-9A5B-1550A4EDF0DC}"/>
          </ac:spMkLst>
        </pc:spChg>
        <pc:spChg chg="del mod">
          <ac:chgData name="Poyrekar, Nikita" userId="81b7bcf0-b252-48e8-8b8e-b08ae8900a92" providerId="ADAL" clId="{811F5F60-36F3-49FD-AFD1-C2D4181F54F0}" dt="2022-12-18T07:25:15.087" v="1661" actId="478"/>
          <ac:spMkLst>
            <pc:docMk/>
            <pc:sldMk cId="2678710148" sldId="693"/>
            <ac:spMk id="4" creationId="{00000000-0000-0000-0000-000000000000}"/>
          </ac:spMkLst>
        </pc:spChg>
        <pc:spChg chg="mod ord">
          <ac:chgData name="Poyrekar, Nikita" userId="81b7bcf0-b252-48e8-8b8e-b08ae8900a92" providerId="ADAL" clId="{811F5F60-36F3-49FD-AFD1-C2D4181F54F0}" dt="2022-12-18T07:37:01.160" v="2155" actId="207"/>
          <ac:spMkLst>
            <pc:docMk/>
            <pc:sldMk cId="2678710148" sldId="693"/>
            <ac:spMk id="12" creationId="{00000000-0000-0000-0000-000000000000}"/>
          </ac:spMkLst>
        </pc:spChg>
        <pc:spChg chg="mod">
          <ac:chgData name="Poyrekar, Nikita" userId="81b7bcf0-b252-48e8-8b8e-b08ae8900a92" providerId="ADAL" clId="{811F5F60-36F3-49FD-AFD1-C2D4181F54F0}" dt="2022-12-18T07:34:02.886" v="2065" actId="1076"/>
          <ac:spMkLst>
            <pc:docMk/>
            <pc:sldMk cId="2678710148" sldId="693"/>
            <ac:spMk id="14" creationId="{00000000-0000-0000-0000-000000000000}"/>
          </ac:spMkLst>
        </pc:spChg>
        <pc:spChg chg="mod">
          <ac:chgData name="Poyrekar, Nikita" userId="81b7bcf0-b252-48e8-8b8e-b08ae8900a92" providerId="ADAL" clId="{811F5F60-36F3-49FD-AFD1-C2D4181F54F0}" dt="2022-12-18T07:03:28.172" v="1626" actId="1076"/>
          <ac:spMkLst>
            <pc:docMk/>
            <pc:sldMk cId="2678710148" sldId="693"/>
            <ac:spMk id="15" creationId="{00000000-0000-0000-0000-000000000000}"/>
          </ac:spMkLst>
        </pc:spChg>
        <pc:spChg chg="mod">
          <ac:chgData name="Poyrekar, Nikita" userId="81b7bcf0-b252-48e8-8b8e-b08ae8900a92" providerId="ADAL" clId="{811F5F60-36F3-49FD-AFD1-C2D4181F54F0}" dt="2022-12-18T07:35:50.397" v="2139" actId="14100"/>
          <ac:spMkLst>
            <pc:docMk/>
            <pc:sldMk cId="2678710148" sldId="693"/>
            <ac:spMk id="16" creationId="{00000000-0000-0000-0000-000000000000}"/>
          </ac:spMkLst>
        </pc:spChg>
        <pc:spChg chg="mod">
          <ac:chgData name="Poyrekar, Nikita" userId="81b7bcf0-b252-48e8-8b8e-b08ae8900a92" providerId="ADAL" clId="{811F5F60-36F3-49FD-AFD1-C2D4181F54F0}" dt="2022-12-18T07:33:38.537" v="2063" actId="207"/>
          <ac:spMkLst>
            <pc:docMk/>
            <pc:sldMk cId="2678710148" sldId="693"/>
            <ac:spMk id="17" creationId="{00000000-0000-0000-0000-000000000000}"/>
          </ac:spMkLst>
        </pc:spChg>
        <pc:spChg chg="mod">
          <ac:chgData name="Poyrekar, Nikita" userId="81b7bcf0-b252-48e8-8b8e-b08ae8900a92" providerId="ADAL" clId="{811F5F60-36F3-49FD-AFD1-C2D4181F54F0}" dt="2022-12-18T07:29:44.640" v="2057" actId="962"/>
          <ac:spMkLst>
            <pc:docMk/>
            <pc:sldMk cId="2678710148" sldId="693"/>
            <ac:spMk id="18" creationId="{00000000-0000-0000-0000-000000000000}"/>
          </ac:spMkLst>
        </pc:spChg>
        <pc:spChg chg="del mod">
          <ac:chgData name="Poyrekar, Nikita" userId="81b7bcf0-b252-48e8-8b8e-b08ae8900a92" providerId="ADAL" clId="{811F5F60-36F3-49FD-AFD1-C2D4181F54F0}" dt="2022-12-18T06:46:30.501" v="1217" actId="478"/>
          <ac:spMkLst>
            <pc:docMk/>
            <pc:sldMk cId="2678710148" sldId="693"/>
            <ac:spMk id="19" creationId="{842D9BA8-19C9-43FE-A664-761CAEC3AB0C}"/>
          </ac:spMkLst>
        </pc:spChg>
        <pc:spChg chg="mod ord">
          <ac:chgData name="Poyrekar, Nikita" userId="81b7bcf0-b252-48e8-8b8e-b08ae8900a92" providerId="ADAL" clId="{811F5F60-36F3-49FD-AFD1-C2D4181F54F0}" dt="2022-12-18T07:33:27.778" v="2061" actId="207"/>
          <ac:spMkLst>
            <pc:docMk/>
            <pc:sldMk cId="2678710148" sldId="693"/>
            <ac:spMk id="20" creationId="{DE521BAC-1841-4C04-8B3B-7E19F9B4CDB7}"/>
          </ac:spMkLst>
        </pc:spChg>
        <pc:spChg chg="mod ord">
          <ac:chgData name="Poyrekar, Nikita" userId="81b7bcf0-b252-48e8-8b8e-b08ae8900a92" providerId="ADAL" clId="{811F5F60-36F3-49FD-AFD1-C2D4181F54F0}" dt="2022-12-18T07:35:11.566" v="2138" actId="962"/>
          <ac:spMkLst>
            <pc:docMk/>
            <pc:sldMk cId="2678710148" sldId="693"/>
            <ac:spMk id="21" creationId="{00000000-0000-0000-0000-000000000000}"/>
          </ac:spMkLst>
        </pc:spChg>
        <pc:spChg chg="mod ord">
          <ac:chgData name="Poyrekar, Nikita" userId="81b7bcf0-b252-48e8-8b8e-b08ae8900a92" providerId="ADAL" clId="{811F5F60-36F3-49FD-AFD1-C2D4181F54F0}" dt="2022-12-18T07:33:21.942" v="2060" actId="207"/>
          <ac:spMkLst>
            <pc:docMk/>
            <pc:sldMk cId="2678710148" sldId="693"/>
            <ac:spMk id="22" creationId="{00000000-0000-0000-0000-000000000000}"/>
          </ac:spMkLst>
        </pc:spChg>
        <pc:spChg chg="mod ord">
          <ac:chgData name="Poyrekar, Nikita" userId="81b7bcf0-b252-48e8-8b8e-b08ae8900a92" providerId="ADAL" clId="{811F5F60-36F3-49FD-AFD1-C2D4181F54F0}" dt="2022-12-18T07:28:14.279" v="1795" actId="13244"/>
          <ac:spMkLst>
            <pc:docMk/>
            <pc:sldMk cId="2678710148" sldId="693"/>
            <ac:spMk id="23" creationId="{08096783-34E3-4E02-BA98-B7B2C5196BA0}"/>
          </ac:spMkLst>
        </pc:spChg>
        <pc:spChg chg="mod ord">
          <ac:chgData name="Poyrekar, Nikita" userId="81b7bcf0-b252-48e8-8b8e-b08ae8900a92" providerId="ADAL" clId="{811F5F60-36F3-49FD-AFD1-C2D4181F54F0}" dt="2022-12-18T07:27:48.734" v="1792" actId="13244"/>
          <ac:spMkLst>
            <pc:docMk/>
            <pc:sldMk cId="2678710148" sldId="693"/>
            <ac:spMk id="24" creationId="{F39E461E-E2E9-42E7-8E0E-712DB5335C27}"/>
          </ac:spMkLst>
        </pc:spChg>
        <pc:spChg chg="add del mod">
          <ac:chgData name="Poyrekar, Nikita" userId="81b7bcf0-b252-48e8-8b8e-b08ae8900a92" providerId="ADAL" clId="{811F5F60-36F3-49FD-AFD1-C2D4181F54F0}" dt="2022-12-18T06:49:32.153" v="1295" actId="478"/>
          <ac:spMkLst>
            <pc:docMk/>
            <pc:sldMk cId="2678710148" sldId="693"/>
            <ac:spMk id="25" creationId="{8CE8B138-4053-44B8-AE3A-05BB341548CE}"/>
          </ac:spMkLst>
        </pc:spChg>
        <pc:spChg chg="add del mod">
          <ac:chgData name="Poyrekar, Nikita" userId="81b7bcf0-b252-48e8-8b8e-b08ae8900a92" providerId="ADAL" clId="{811F5F60-36F3-49FD-AFD1-C2D4181F54F0}" dt="2022-12-18T06:49:30.609" v="1294" actId="478"/>
          <ac:spMkLst>
            <pc:docMk/>
            <pc:sldMk cId="2678710148" sldId="693"/>
            <ac:spMk id="26" creationId="{870FA8E4-0D09-495F-86A5-810D68397846}"/>
          </ac:spMkLst>
        </pc:spChg>
        <pc:spChg chg="add mod ord">
          <ac:chgData name="Poyrekar, Nikita" userId="81b7bcf0-b252-48e8-8b8e-b08ae8900a92" providerId="ADAL" clId="{811F5F60-36F3-49FD-AFD1-C2D4181F54F0}" dt="2022-12-18T07:27:41.631" v="1791" actId="13244"/>
          <ac:spMkLst>
            <pc:docMk/>
            <pc:sldMk cId="2678710148" sldId="693"/>
            <ac:spMk id="28" creationId="{8C622EED-B644-481D-8267-6144F79A0584}"/>
          </ac:spMkLst>
        </pc:spChg>
        <pc:picChg chg="mod ord">
          <ac:chgData name="Poyrekar, Nikita" userId="81b7bcf0-b252-48e8-8b8e-b08ae8900a92" providerId="ADAL" clId="{811F5F60-36F3-49FD-AFD1-C2D4181F54F0}" dt="2022-12-18T07:28:39.159" v="1797" actId="962"/>
          <ac:picMkLst>
            <pc:docMk/>
            <pc:sldMk cId="2678710148" sldId="693"/>
            <ac:picMk id="5" creationId="{DE76CACD-52CD-4454-AAE1-B4A1C7597BD3}"/>
          </ac:picMkLst>
        </pc:picChg>
        <pc:picChg chg="mod ord">
          <ac:chgData name="Poyrekar, Nikita" userId="81b7bcf0-b252-48e8-8b8e-b08ae8900a92" providerId="ADAL" clId="{811F5F60-36F3-49FD-AFD1-C2D4181F54F0}" dt="2022-12-18T07:28:08.956" v="1794" actId="13244"/>
          <ac:picMkLst>
            <pc:docMk/>
            <pc:sldMk cId="2678710148" sldId="693"/>
            <ac:picMk id="7" creationId="{35B07E6F-2E6A-4E1C-B6B2-652F56E5B9B6}"/>
          </ac:picMkLst>
        </pc:picChg>
        <pc:picChg chg="add del mod">
          <ac:chgData name="Poyrekar, Nikita" userId="81b7bcf0-b252-48e8-8b8e-b08ae8900a92" providerId="ADAL" clId="{811F5F60-36F3-49FD-AFD1-C2D4181F54F0}" dt="2022-12-18T06:49:27.062" v="1293" actId="478"/>
          <ac:picMkLst>
            <pc:docMk/>
            <pc:sldMk cId="2678710148" sldId="693"/>
            <ac:picMk id="27" creationId="{1F247AD9-DF04-4B34-BCF5-7B5B60243309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>
                <a:latin typeface="Arial" panose="020B0604020202020204" pitchFamily="34" charset="0"/>
              </a:rPr>
              <a:t>4/18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/>
              <a:pPr/>
              <a:t>4/1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141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  <a:endParaRPr lang="en-GB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/>
              <a:t>Edit Master text styles</a:t>
            </a:r>
            <a:endParaRPr lang="en-GB"/>
          </a:p>
          <a:p>
            <a:pPr lvl="1"/>
            <a:r>
              <a:rPr lang="en-GB" noProof="0"/>
              <a:t>Second level</a:t>
            </a:r>
            <a:endParaRPr lang="en-GB"/>
          </a:p>
          <a:p>
            <a:pPr lvl="2"/>
            <a:r>
              <a:rPr lang="en-GB" noProof="0"/>
              <a:t>Third level</a:t>
            </a:r>
            <a:endParaRPr lang="en-GB"/>
          </a:p>
          <a:p>
            <a:pPr lvl="3"/>
            <a:r>
              <a:rPr lang="en-GB" noProof="0"/>
              <a:t>Fourth level</a:t>
            </a:r>
            <a:endParaRPr lang="en-GB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1848012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01650" y="651601"/>
            <a:ext cx="11162350" cy="75725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1800" b="1" i="1" dirty="0"/>
              <a:t>&lt;Name&gt;</a:t>
            </a:r>
            <a:endParaRPr lang="en-IN" sz="1800" b="1" i="1" dirty="0"/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01650" y="317499"/>
            <a:ext cx="11162350" cy="698501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b="1" dirty="0"/>
              <a:t>Profile</a:t>
            </a:r>
            <a:endParaRPr lang="en-IN" b="1" i="1" dirty="0">
              <a:solidFill>
                <a:schemeClr val="accent6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25947" y="3306687"/>
            <a:ext cx="1980000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Qualification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291442" y="3567841"/>
            <a:ext cx="2014506" cy="653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169069" lvl="1" indent="-169069" eaLnBrk="0" hangingPunct="0">
              <a:buClr>
                <a:srgbClr val="53565A"/>
              </a:buClr>
              <a:buSzPct val="70000"/>
              <a:buFont typeface="Arial" pitchFamily="34" charset="0"/>
              <a:buChar char="►"/>
              <a:defRPr/>
            </a:pP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2496960" y="1326588"/>
            <a:ext cx="9037646" cy="20510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171450" indent="-171450" defTabSz="843508" eaLnBrk="0" fontAlgn="base" hangingPunct="0">
              <a:lnSpc>
                <a:spcPct val="120000"/>
              </a:lnSpc>
              <a:spcBef>
                <a:spcPts val="407"/>
              </a:spcBef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xx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2496960" y="3269676"/>
            <a:ext cx="9037646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Key Engagements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2496960" y="3497225"/>
            <a:ext cx="9037646" cy="30898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171450" indent="-171450" defTabSz="843508" eaLnBrk="0" fontAlgn="base" hangingPunct="0">
              <a:lnSpc>
                <a:spcPct val="120000"/>
              </a:lnSpc>
              <a:spcBef>
                <a:spcPts val="407"/>
              </a:spcBef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xx</a:t>
            </a:r>
            <a:endParaRPr lang="en-US" sz="9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2496960" y="1086108"/>
            <a:ext cx="9037646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291441" y="4381473"/>
            <a:ext cx="1980000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Certifications</a:t>
            </a:r>
          </a:p>
        </p:txBody>
      </p:sp>
    </p:spTree>
    <p:extLst>
      <p:ext uri="{BB962C8B-B14F-4D97-AF65-F5344CB8AC3E}">
        <p14:creationId xmlns:p14="http://schemas.microsoft.com/office/powerpoint/2010/main" val="135954888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Edit Master text styles</a:t>
            </a:r>
            <a:endParaRPr lang="en-GB"/>
          </a:p>
          <a:p>
            <a:pPr lvl="1"/>
            <a:r>
              <a:rPr lang="en-GB" noProof="0"/>
              <a:t>Second level</a:t>
            </a:r>
            <a:endParaRPr lang="en-GB"/>
          </a:p>
          <a:p>
            <a:pPr lvl="2"/>
            <a:r>
              <a:rPr lang="en-GB" noProof="0"/>
              <a:t>Third level</a:t>
            </a:r>
            <a:endParaRPr lang="en-GB"/>
          </a:p>
          <a:p>
            <a:pPr lvl="3"/>
            <a:r>
              <a:rPr lang="en-GB" noProof="0"/>
              <a:t>Fourth level</a:t>
            </a:r>
            <a:endParaRPr lang="en-GB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>
                <a:solidFill>
                  <a:srgbClr val="000000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GB" sz="650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0408" y="6489083"/>
            <a:ext cx="534192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SzPct val="100000"/>
              <a:buFont typeface="Arial"/>
              <a:buNone/>
            </a:pPr>
            <a:r>
              <a:rPr lang="fr-FR" sz="700" dirty="0">
                <a:solidFill>
                  <a:prstClr val="black"/>
                </a:solidFill>
              </a:rPr>
              <a:t>© 2020 Deloitte Touche Tohmatsu India LLP</a:t>
            </a:r>
            <a:endParaRPr lang="en-US" sz="648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38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5" r:id="rId2"/>
  </p:sldLayoutIdLst>
  <p:transition>
    <p:fade/>
  </p:transition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​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​"/>
        <a:defRPr lang="en-US" sz="1200" b="1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7">
          <p15:clr>
            <a:srgbClr val="F26B43"/>
          </p15:clr>
        </p15:guide>
        <p15:guide id="2" pos="296">
          <p15:clr>
            <a:srgbClr val="F26B43"/>
          </p15:clr>
        </p15:guide>
        <p15:guide id="3" pos="7397">
          <p15:clr>
            <a:srgbClr val="F26B43"/>
          </p15:clr>
        </p15:guide>
        <p15:guide id="4" orient="horz" pos="245">
          <p15:clr>
            <a:srgbClr val="F26B43"/>
          </p15:clr>
        </p15:guide>
        <p15:guide id="5" orient="horz" pos="4081">
          <p15:clr>
            <a:srgbClr val="F26B43"/>
          </p15:clr>
        </p15:guide>
        <p15:guide id="6" orient="horz" pos="1043">
          <p15:clr>
            <a:srgbClr val="F26B43"/>
          </p15:clr>
        </p15:guide>
        <p15:guide id="7" orient="horz" pos="7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npoyrekar@deloitte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jpg"/><Relationship Id="rId5" Type="http://schemas.openxmlformats.org/officeDocument/2006/relationships/hyperlink" Target="https://www.linkedin.com/in/nikitapoyrekar/details/certifications/" TargetMode="Externa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2"/>
          <p:cNvSpPr>
            <a:spLocks noGrp="1"/>
          </p:cNvSpPr>
          <p:nvPr>
            <p:ph type="title"/>
          </p:nvPr>
        </p:nvSpPr>
        <p:spPr>
          <a:xfrm>
            <a:off x="220717" y="160135"/>
            <a:ext cx="11609921" cy="667423"/>
          </a:xfrm>
        </p:spPr>
        <p:txBody>
          <a:bodyPr/>
          <a:lstStyle/>
          <a:p>
            <a:r>
              <a:rPr lang="en-US" sz="1800" b="1" dirty="0">
                <a:latin typeface="+mn-lt"/>
                <a:cs typeface="Calibri" panose="020F0502020204030204" pitchFamily="34" charset="0"/>
              </a:rPr>
              <a:t> Nikita Deepak Poyrekar</a:t>
            </a:r>
            <a:br>
              <a:rPr lang="en-US" sz="1800" b="1" dirty="0">
                <a:latin typeface="+mn-lt"/>
                <a:cs typeface="Calibri" panose="020F0502020204030204" pitchFamily="34" charset="0"/>
              </a:rPr>
            </a:br>
            <a:r>
              <a:rPr lang="en-US" sz="1800" b="1" dirty="0">
                <a:latin typeface="+mn-lt"/>
                <a:cs typeface="Calibri" panose="020F0502020204030204" pitchFamily="34" charset="0"/>
              </a:rPr>
              <a:t> </a:t>
            </a:r>
            <a:r>
              <a:rPr lang="en-US" sz="1400" dirty="0">
                <a:latin typeface="+mn-lt"/>
                <a:cs typeface="Calibri" panose="020F0502020204030204" pitchFamily="34" charset="0"/>
              </a:rPr>
              <a:t>Consultant, Deloitte India</a:t>
            </a:r>
            <a:endParaRPr lang="en-IN" sz="1800" b="1" i="1" dirty="0">
              <a:solidFill>
                <a:schemeClr val="accent6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2" name="Text Placeholder 1"/>
          <p:cNvSpPr txBox="1">
            <a:spLocks/>
          </p:cNvSpPr>
          <p:nvPr/>
        </p:nvSpPr>
        <p:spPr>
          <a:xfrm>
            <a:off x="276944" y="2241256"/>
            <a:ext cx="1980000" cy="5872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30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sz="900" noProof="0" dirty="0">
                <a:solidFill>
                  <a:srgbClr val="5528FF"/>
                </a:solidFill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poyrekar@deloitte.com</a:t>
            </a:r>
            <a:endParaRPr lang="en-GB" sz="900" noProof="0" dirty="0">
              <a:solidFill>
                <a:srgbClr val="5528FF"/>
              </a:solidFill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sz="900" dirty="0">
                <a:solidFill>
                  <a:srgbClr val="5528FF"/>
                </a:solidFill>
                <a:cs typeface="Calibri" panose="020F0502020204030204" pitchFamily="34" charset="0"/>
              </a:rPr>
              <a:t>Phone: +91 897 654 8557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76944" y="2753053"/>
            <a:ext cx="1980000" cy="261129"/>
          </a:xfrm>
          <a:prstGeom prst="rect">
            <a:avLst/>
          </a:prstGeom>
          <a:solidFill>
            <a:srgbClr val="552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cs typeface="Calibri" panose="020F0502020204030204" pitchFamily="34" charset="0"/>
              </a:rPr>
              <a:t>Qualification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76944" y="3083410"/>
            <a:ext cx="1980000" cy="7033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169069" lvl="1" indent="-169069" eaLnBrk="0" hangingPunct="0">
              <a:lnSpc>
                <a:spcPct val="150000"/>
              </a:lnSpc>
              <a:buClr>
                <a:srgbClr val="53565A"/>
              </a:buClr>
              <a:buSzPct val="70000"/>
              <a:buFont typeface="Arial" pitchFamily="34" charset="0"/>
              <a:buChar char="►"/>
              <a:defRPr/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Tech: Autonomous (KJSCE Mumbai)</a:t>
            </a:r>
          </a:p>
          <a:p>
            <a:pPr marL="169069" lvl="1" indent="-169069" eaLnBrk="0" hangingPunct="0">
              <a:lnSpc>
                <a:spcPct val="150000"/>
              </a:lnSpc>
              <a:buClr>
                <a:srgbClr val="53565A"/>
              </a:buClr>
              <a:buSzPct val="70000"/>
              <a:buFont typeface="Arial" pitchFamily="34" charset="0"/>
              <a:buChar char="►"/>
              <a:defRPr/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. E: Mumbai University</a:t>
            </a:r>
          </a:p>
        </p:txBody>
      </p:sp>
      <p:sp>
        <p:nvSpPr>
          <p:cNvPr id="22" name="Rectangle 21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76944" y="3897287"/>
            <a:ext cx="1980000" cy="288030"/>
          </a:xfrm>
          <a:prstGeom prst="rect">
            <a:avLst/>
          </a:prstGeom>
          <a:solidFill>
            <a:srgbClr val="552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cs typeface="Calibri" panose="020F0502020204030204" pitchFamily="34" charset="0"/>
              </a:rPr>
              <a:t>Certifications</a:t>
            </a:r>
          </a:p>
        </p:txBody>
      </p:sp>
      <p:pic>
        <p:nvPicPr>
          <p:cNvPr id="5" name="Picture 4" descr="Google CDL certification badge">
            <a:extLst>
              <a:ext uri="{FF2B5EF4-FFF2-40B4-BE49-F238E27FC236}">
                <a16:creationId xmlns:a16="http://schemas.microsoft.com/office/drawing/2014/main" id="{DE76CACD-52CD-4454-AAE1-B4A1C7597B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944" y="4295800"/>
            <a:ext cx="731061" cy="653654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08096783-34E3-4E02-BA98-B7B2C5196BA0}"/>
              </a:ext>
            </a:extLst>
          </p:cNvPr>
          <p:cNvSpPr/>
          <p:nvPr/>
        </p:nvSpPr>
        <p:spPr>
          <a:xfrm>
            <a:off x="1003342" y="4370971"/>
            <a:ext cx="1253602" cy="5410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0" lvl="1" algn="ctr" eaLnBrk="0" hangingPunct="0">
              <a:buClr>
                <a:srgbClr val="53565A"/>
              </a:buClr>
              <a:buSzPct val="70000"/>
              <a:defRPr/>
            </a:pPr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Google Certified Cloud Digital Leade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C622EED-B644-481D-8267-6144F79A0584}"/>
              </a:ext>
            </a:extLst>
          </p:cNvPr>
          <p:cNvSpPr/>
          <p:nvPr/>
        </p:nvSpPr>
        <p:spPr>
          <a:xfrm>
            <a:off x="262039" y="5030489"/>
            <a:ext cx="1980000" cy="4231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0" lvl="1" eaLnBrk="0" hangingPunct="0">
              <a:buClr>
                <a:srgbClr val="53565A"/>
              </a:buClr>
              <a:buSzPct val="70000"/>
              <a:defRPr/>
            </a:pP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Other Technical certifications </a:t>
            </a:r>
            <a:r>
              <a:rPr lang="en-US" sz="1000" b="1" dirty="0">
                <a:solidFill>
                  <a:schemeClr val="tx1"/>
                </a:solidFill>
                <a:cs typeface="Calibri" panose="020F0502020204030204" pitchFamily="34" charset="0"/>
              </a:rPr>
              <a:t>– </a:t>
            </a:r>
            <a:r>
              <a:rPr lang="en-US" sz="1000" dirty="0">
                <a:solidFill>
                  <a:schemeClr val="tx1"/>
                </a:solidFill>
                <a:cs typeface="Calibri" panose="020F0502020204030204" pitchFamily="34" charset="0"/>
                <a:hlinkClick r:id="rId5"/>
              </a:rPr>
              <a:t>Click here</a:t>
            </a:r>
            <a:endParaRPr lang="en-US" sz="1000" dirty="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E521BAC-1841-4C04-8B3B-7E19F9B4CDB7}"/>
              </a:ext>
            </a:extLst>
          </p:cNvPr>
          <p:cNvSpPr/>
          <p:nvPr/>
        </p:nvSpPr>
        <p:spPr>
          <a:xfrm>
            <a:off x="220717" y="5572096"/>
            <a:ext cx="1980000" cy="288030"/>
          </a:xfrm>
          <a:prstGeom prst="rect">
            <a:avLst/>
          </a:prstGeom>
          <a:solidFill>
            <a:srgbClr val="552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cs typeface="Calibri" panose="020F0502020204030204" pitchFamily="34" charset="0"/>
              </a:rPr>
              <a:t>Primary skill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39E461E-E2E9-42E7-8E0E-712DB5335C27}"/>
              </a:ext>
            </a:extLst>
          </p:cNvPr>
          <p:cNvSpPr/>
          <p:nvPr/>
        </p:nvSpPr>
        <p:spPr>
          <a:xfrm>
            <a:off x="220717" y="5917608"/>
            <a:ext cx="1980000" cy="4231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0" lvl="1" eaLnBrk="0" hangingPunct="0">
              <a:buClr>
                <a:srgbClr val="53565A"/>
              </a:buClr>
              <a:buSzPct val="70000"/>
              <a:defRPr/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Front-end development – React Js, Angular and Next.js</a:t>
            </a:r>
          </a:p>
        </p:txBody>
      </p:sp>
      <p:sp>
        <p:nvSpPr>
          <p:cNvPr id="21" name="Rectangle 20" descr="Professional experience header"/>
          <p:cNvSpPr/>
          <p:nvPr/>
        </p:nvSpPr>
        <p:spPr>
          <a:xfrm>
            <a:off x="2538372" y="744273"/>
            <a:ext cx="9292266" cy="270077"/>
          </a:xfrm>
          <a:prstGeom prst="rect">
            <a:avLst/>
          </a:prstGeom>
          <a:solidFill>
            <a:srgbClr val="552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538373" y="1043645"/>
            <a:ext cx="9292265" cy="37390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algn="just">
              <a:lnSpc>
                <a:spcPct val="150000"/>
              </a:lnSpc>
            </a:pPr>
            <a:r>
              <a:rPr lang="en-US" sz="900" dirty="0">
                <a:solidFill>
                  <a:prstClr val="black"/>
                </a:solidFill>
                <a:cs typeface="Calibri" panose="020F0502020204030204" pitchFamily="34" charset="0"/>
              </a:rPr>
              <a:t>Nikita is a Front-end developer with Deloitte India. She has 3 years of experience in software development and client management roles. She has developed enterprise applications with visually responsive elements using state-of-the-art JS frameworks like Angular, React JS and Next.js. She has led the entire PED (Product, Engineering and Design) team for projects across Healthcare, Property and retail management sectors. </a:t>
            </a:r>
          </a:p>
          <a:p>
            <a:pPr algn="just">
              <a:lnSpc>
                <a:spcPct val="150000"/>
              </a:lnSpc>
            </a:pPr>
            <a:r>
              <a:rPr lang="en-US" sz="900" dirty="0">
                <a:solidFill>
                  <a:prstClr val="black"/>
                </a:solidFill>
                <a:cs typeface="Calibri" panose="020F0502020204030204" pitchFamily="34" charset="0"/>
              </a:rPr>
              <a:t>Key competencies and experience include -</a:t>
            </a:r>
            <a:endParaRPr lang="en-ZA" sz="9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Experienced in Waterfall &amp; Agile Software development practices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Experienced in presenting product demonstrations and project delivery updates</a:t>
            </a:r>
          </a:p>
          <a:p>
            <a:pPr algn="just">
              <a:lnSpc>
                <a:spcPct val="150000"/>
              </a:lnSpc>
            </a:pPr>
            <a:r>
              <a:rPr lang="en-ZA" sz="900" b="1" dirty="0">
                <a:solidFill>
                  <a:prstClr val="black"/>
                </a:solidFill>
                <a:cs typeface="Calibri" panose="020F0502020204030204" pitchFamily="34" charset="0"/>
              </a:rPr>
              <a:t>Tools &amp; Technology: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Programming languages: JavaScript, TypeScript, HTML5, CSS3, Less, Python, etc.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Frameworks: Angular, Next.js, Bootstrap, Semantic UI, Materialize and Tailwind CSS 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Libraries: React, Redux, Angular Material and Ant design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Version control: Git, GitHub and Bitbucket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UI design tools: Figma, InVision and Zeplin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API collaboration: POSTMAN and Swagger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900" dirty="0">
                <a:solidFill>
                  <a:prstClr val="black"/>
                </a:solidFill>
                <a:cs typeface="Calibri" panose="020F0502020204030204" pitchFamily="34" charset="0"/>
              </a:rPr>
              <a:t>Project management tools: Rally, Airtable and Atlassian tools like JIRA and Confluence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cs typeface="Calibri" panose="020F0502020204030204" pitchFamily="34" charset="0"/>
              </a:rPr>
              <a:t>Test libraries/frameworks: JEST, React testing library and Cypress.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cs typeface="Calibri" panose="020F0502020204030204" pitchFamily="34" charset="0"/>
              </a:rPr>
              <a:t>Task runners: Gulp4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cs typeface="Calibri" panose="020F0502020204030204" pitchFamily="34" charset="0"/>
              </a:rPr>
              <a:t>CI/CD: Working knowledge of Jenkins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  <a:cs typeface="Calibri" panose="020F0502020204030204" pitchFamily="34" charset="0"/>
              </a:rPr>
              <a:t>Cloud Fundamentals: Google Cloud Platform (GCP), CMS: Strapi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538372" y="4829549"/>
            <a:ext cx="9321525" cy="270077"/>
          </a:xfrm>
          <a:prstGeom prst="rect">
            <a:avLst/>
          </a:prstGeom>
          <a:solidFill>
            <a:srgbClr val="552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cs typeface="Calibri" panose="020F0502020204030204" pitchFamily="34" charset="0"/>
              </a:rPr>
              <a:t>Key Engagements</a:t>
            </a:r>
          </a:p>
        </p:txBody>
      </p:sp>
      <p:sp>
        <p:nvSpPr>
          <p:cNvPr id="18" name="Rectangle 17" descr="This section talks about the key engagements of Nikita in her professional career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538375" y="5137351"/>
            <a:ext cx="9321522" cy="1560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kern="0" dirty="0">
                <a:solidFill>
                  <a:srgbClr val="000000"/>
                </a:solidFill>
                <a:cs typeface="Calibri" panose="020F0502020204030204" pitchFamily="34" charset="0"/>
              </a:rPr>
              <a:t>Developing an application that facilitates applying credit to finance a vehicle purchase for Europe's leading automobile E-commerce platform. The range of responsibilities undertaken during the tenure includes - backlog management, process definition, development, QA, and delivery management.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kern="0" dirty="0">
                <a:solidFill>
                  <a:srgbClr val="000000"/>
                </a:solidFill>
                <a:cs typeface="Calibri" panose="020F0502020204030204" pitchFamily="34" charset="0"/>
              </a:rPr>
              <a:t>Designed and built a digital platform to simplify tenant and landlord management functions for the leading USA-based Commercial Real Estate organization. The role involved gathering requirements, identifying resolutions to the existing problems/challenges, developing technical specifications and executing the same. Also developed an internal tool which reduced the TTM for a website from 6 weeks to 1.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900" kern="0" dirty="0">
                <a:solidFill>
                  <a:srgbClr val="000000"/>
                </a:solidFill>
                <a:cs typeface="Calibri" panose="020F0502020204030204" pitchFamily="34" charset="0"/>
              </a:rPr>
              <a:t>Developed a secure online platform for an Indian Pharma client. The scope of responsibilities undertaken included – understanding/analyzing the requirements, defining priorities, development, quality analysis, product demonstrations and deployment.</a:t>
            </a:r>
          </a:p>
        </p:txBody>
      </p:sp>
      <p:pic>
        <p:nvPicPr>
          <p:cNvPr id="6" name="Content Placeholder 5" descr="Nikita Deepak Poyarekar&#10;">
            <a:extLst>
              <a:ext uri="{FF2B5EF4-FFF2-40B4-BE49-F238E27FC236}">
                <a16:creationId xmlns:a16="http://schemas.microsoft.com/office/drawing/2014/main" id="{67B3EB1F-2821-412E-88DA-0648A3498C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/>
          <a:srcRect l="31647" t="29758"/>
          <a:stretch/>
        </p:blipFill>
        <p:spPr>
          <a:xfrm>
            <a:off x="727961" y="744376"/>
            <a:ext cx="1068182" cy="1463636"/>
          </a:xfrm>
        </p:spPr>
      </p:pic>
    </p:spTree>
    <p:extLst>
      <p:ext uri="{BB962C8B-B14F-4D97-AF65-F5344CB8AC3E}">
        <p14:creationId xmlns:p14="http://schemas.microsoft.com/office/powerpoint/2010/main" val="267871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loitte_UK_Onscreen">
  <a:themeElements>
    <a:clrScheme name="Deloitte colo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solidFill>
            <a:schemeClr val="accent3"/>
          </a:solidFill>
          <a:miter lim="800000"/>
          <a:headEnd/>
          <a:tailEnd/>
        </a:ln>
      </a:spPr>
      <a:bodyPr wrap="square" lIns="88900" tIns="88900" rIns="88900" bIns="88900" rtlCol="0" anchor="ctr"/>
      <a:lstStyle>
        <a:defPPr algn="ctr">
          <a:lnSpc>
            <a:spcPct val="106000"/>
          </a:lnSpc>
          <a:buFont typeface="Wingdings 2" pitchFamily="18" charset="2"/>
          <a:buNone/>
          <a:defRPr sz="1600" b="1" noProof="0" dirty="0" err="1">
            <a:solidFill>
              <a:schemeClr val="bg1"/>
            </a:solidFill>
          </a:defRPr>
        </a:defPPr>
      </a:lstStyle>
    </a:spDef>
    <a:lnDef>
      <a:spPr>
        <a:ln>
          <a:solidFill>
            <a:srgbClr val="44546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34000" indent="-234000">
          <a:spcBef>
            <a:spcPts val="0"/>
          </a:spcBef>
          <a:spcAft>
            <a:spcPts val="1333"/>
          </a:spcAft>
          <a:buSzPct val="100000"/>
          <a:buFont typeface="Arial"/>
          <a:buChar char="•"/>
          <a:defRPr sz="1200" noProof="0" dirty="0" err="1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 widescreen (16-9).potx" id="{D15CC715-B911-44C1-9E94-DDBA3AD356C4}" vid="{6A3836AB-5DCF-4D2F-8285-FE1EF7A8334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1CBD6CE8BEBF47BB644B79398C098D" ma:contentTypeVersion="3" ma:contentTypeDescription="Create a new document." ma:contentTypeScope="" ma:versionID="1ec675df0dfb442a97ec99e2555374fd">
  <xsd:schema xmlns:xsd="http://www.w3.org/2001/XMLSchema" xmlns:xs="http://www.w3.org/2001/XMLSchema" xmlns:p="http://schemas.microsoft.com/office/2006/metadata/properties" xmlns:ns2="655bbda8-32d5-4c1a-a1fa-5cab6faa4b30" targetNamespace="http://schemas.microsoft.com/office/2006/metadata/properties" ma:root="true" ma:fieldsID="8c0e2b0a7ed4ea828b6d6e379a505a0a" ns2:_="">
    <xsd:import namespace="655bbda8-32d5-4c1a-a1fa-5cab6faa4b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5bbda8-32d5-4c1a-a1fa-5cab6faa4b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395A1E2-B83B-4BA6-801E-BC272FD300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55bbda8-32d5-4c1a-a1fa-5cab6faa4b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D100C16-0770-41BD-BAA6-41F6DF6BE2E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5CF092-BC1D-4376-B6C4-CFCD2F92756E}">
  <ds:schemaRefs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655bbda8-32d5-4c1a-a1fa-5cab6faa4b30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82</TotalTime>
  <Words>425</Words>
  <Application>Microsoft Office PowerPoint</Application>
  <PresentationFormat>Widescreen</PresentationFormat>
  <Paragraphs>3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Verdana</vt:lpstr>
      <vt:lpstr>Wingdings</vt:lpstr>
      <vt:lpstr>2_Deloitte_UK_Onscreen</vt:lpstr>
      <vt:lpstr>think-cell Slide</vt:lpstr>
      <vt:lpstr> Nikita Deepak Poyrekar  Consultant, Deloitte Indi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yrekar, Nikita</dc:creator>
  <cp:lastModifiedBy>Poyrekar, Nikita</cp:lastModifiedBy>
  <cp:revision>733</cp:revision>
  <dcterms:modified xsi:type="dcterms:W3CDTF">2023-04-18T07:1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16-05-12T18:47:00.1929907</vt:lpwstr>
  </property>
  <property fmtid="{D5CDD505-2E9C-101B-9397-08002B2CF9AE}" pid="3" name="CustomerId">
    <vt:lpwstr>deloitteindia</vt:lpwstr>
  </property>
  <property fmtid="{D5CDD505-2E9C-101B-9397-08002B2CF9AE}" pid="4" name="TemplateId">
    <vt:lpwstr>635986756201929906</vt:lpwstr>
  </property>
  <property fmtid="{D5CDD505-2E9C-101B-9397-08002B2CF9AE}" pid="5" name="UserProfileId">
    <vt:lpwstr>636373340031713043</vt:lpwstr>
  </property>
  <property fmtid="{D5CDD505-2E9C-101B-9397-08002B2CF9AE}" pid="6" name="ContentTypeId">
    <vt:lpwstr>0x010100711CBD6CE8BEBF47BB644B79398C098D</vt:lpwstr>
  </property>
  <property fmtid="{D5CDD505-2E9C-101B-9397-08002B2CF9AE}" pid="7" name="MSIP_Label_ea60d57e-af5b-4752-ac57-3e4f28ca11dc_Enabled">
    <vt:lpwstr>true</vt:lpwstr>
  </property>
  <property fmtid="{D5CDD505-2E9C-101B-9397-08002B2CF9AE}" pid="8" name="MSIP_Label_ea60d57e-af5b-4752-ac57-3e4f28ca11dc_SetDate">
    <vt:lpwstr>2021-10-06T03:51:00Z</vt:lpwstr>
  </property>
  <property fmtid="{D5CDD505-2E9C-101B-9397-08002B2CF9AE}" pid="9" name="MSIP_Label_ea60d57e-af5b-4752-ac57-3e4f28ca11dc_Method">
    <vt:lpwstr>Standard</vt:lpwstr>
  </property>
  <property fmtid="{D5CDD505-2E9C-101B-9397-08002B2CF9AE}" pid="10" name="MSIP_Label_ea60d57e-af5b-4752-ac57-3e4f28ca11dc_Name">
    <vt:lpwstr>ea60d57e-af5b-4752-ac57-3e4f28ca11dc</vt:lpwstr>
  </property>
  <property fmtid="{D5CDD505-2E9C-101B-9397-08002B2CF9AE}" pid="11" name="MSIP_Label_ea60d57e-af5b-4752-ac57-3e4f28ca11dc_SiteId">
    <vt:lpwstr>36da45f1-dd2c-4d1f-af13-5abe46b99921</vt:lpwstr>
  </property>
  <property fmtid="{D5CDD505-2E9C-101B-9397-08002B2CF9AE}" pid="12" name="MSIP_Label_ea60d57e-af5b-4752-ac57-3e4f28ca11dc_ActionId">
    <vt:lpwstr>c6bb82f5-e7f1-47c5-ac7b-c7e35d76ab84</vt:lpwstr>
  </property>
  <property fmtid="{D5CDD505-2E9C-101B-9397-08002B2CF9AE}" pid="13" name="MSIP_Label_ea60d57e-af5b-4752-ac57-3e4f28ca11dc_ContentBits">
    <vt:lpwstr>0</vt:lpwstr>
  </property>
</Properties>
</file>